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media/image32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48"/>
  </p:notesMasterIdLst>
  <p:handoutMasterIdLst>
    <p:handoutMasterId r:id="rId49"/>
  </p:handoutMasterIdLst>
  <p:sldIdLst>
    <p:sldId id="307" r:id="rId2"/>
    <p:sldId id="274" r:id="rId3"/>
    <p:sldId id="276" r:id="rId4"/>
    <p:sldId id="279" r:id="rId5"/>
    <p:sldId id="283" r:id="rId6"/>
    <p:sldId id="319" r:id="rId7"/>
    <p:sldId id="320" r:id="rId8"/>
    <p:sldId id="281" r:id="rId9"/>
    <p:sldId id="313" r:id="rId10"/>
    <p:sldId id="285" r:id="rId11"/>
    <p:sldId id="280" r:id="rId12"/>
    <p:sldId id="277" r:id="rId13"/>
    <p:sldId id="284" r:id="rId14"/>
    <p:sldId id="275" r:id="rId15"/>
    <p:sldId id="278" r:id="rId16"/>
    <p:sldId id="282" r:id="rId17"/>
    <p:sldId id="309" r:id="rId18"/>
    <p:sldId id="295" r:id="rId19"/>
    <p:sldId id="286" r:id="rId20"/>
    <p:sldId id="287" r:id="rId21"/>
    <p:sldId id="288" r:id="rId22"/>
    <p:sldId id="289" r:id="rId23"/>
    <p:sldId id="290" r:id="rId24"/>
    <p:sldId id="293" r:id="rId25"/>
    <p:sldId id="291" r:id="rId26"/>
    <p:sldId id="292" r:id="rId27"/>
    <p:sldId id="294" r:id="rId28"/>
    <p:sldId id="296" r:id="rId29"/>
    <p:sldId id="297" r:id="rId30"/>
    <p:sldId id="298" r:id="rId31"/>
    <p:sldId id="299" r:id="rId32"/>
    <p:sldId id="300" r:id="rId33"/>
    <p:sldId id="304" r:id="rId34"/>
    <p:sldId id="305" r:id="rId35"/>
    <p:sldId id="311" r:id="rId36"/>
    <p:sldId id="303" r:id="rId37"/>
    <p:sldId id="302" r:id="rId38"/>
    <p:sldId id="301" r:id="rId39"/>
    <p:sldId id="308" r:id="rId40"/>
    <p:sldId id="312" r:id="rId41"/>
    <p:sldId id="310" r:id="rId42"/>
    <p:sldId id="317" r:id="rId43"/>
    <p:sldId id="315" r:id="rId44"/>
    <p:sldId id="314" r:id="rId45"/>
    <p:sldId id="318" r:id="rId46"/>
    <p:sldId id="306" r:id="rId47"/>
  </p:sldIdLst>
  <p:sldSz cx="11522075" cy="6480175"/>
  <p:notesSz cx="6858000" cy="9144000"/>
  <p:custDataLst>
    <p:tags r:id="rId5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E20074"/>
    <a:srgbClr val="E20000"/>
    <a:srgbClr val="992C99"/>
    <a:srgbClr val="4B4B4B"/>
    <a:srgbClr val="C4C4C4"/>
    <a:srgbClr val="00FFFF"/>
    <a:srgbClr val="E1E1E1"/>
    <a:srgbClr val="DEDEDE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7" autoAdjust="0"/>
    <p:restoredTop sz="94620" autoAdjust="0"/>
  </p:normalViewPr>
  <p:slideViewPr>
    <p:cSldViewPr snapToGrid="0" snapToObjects="1">
      <p:cViewPr varScale="1">
        <p:scale>
          <a:sx n="121" d="100"/>
          <a:sy n="121" d="100"/>
        </p:scale>
        <p:origin x="1068" y="9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21.08.2017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7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2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25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6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1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9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32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70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6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7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74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05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1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1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2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23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93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 err="1"/>
              <a:t>Funktionale</a:t>
            </a:r>
            <a:r>
              <a:rPr lang="en-US" dirty="0"/>
              <a:t> </a:t>
            </a:r>
            <a:r>
              <a:rPr lang="en-US" dirty="0" err="1"/>
              <a:t>programmier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und Resilience4j </a:t>
            </a:r>
            <a:endParaRPr lang="de-DE" dirty="0"/>
          </a:p>
        </p:txBody>
      </p:sp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>
          <a:xfrm>
            <a:off x="326231" y="2833805"/>
            <a:ext cx="7169474" cy="471604"/>
          </a:xfrm>
        </p:spPr>
        <p:txBody>
          <a:bodyPr/>
          <a:lstStyle/>
          <a:p>
            <a:r>
              <a:rPr lang="de-DE" sz="3200" dirty="0"/>
              <a:t>Robert Winkler</a:t>
            </a:r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PURE) Funktionen ohne Seiteneffekt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e Variablen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änderliche Parameter</a:t>
            </a:r>
            <a:endParaRPr lang="en-US" sz="2400" dirty="0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6881926" y="984688"/>
            <a:ext cx="4314073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 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r 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2554" y="1785116"/>
            <a:ext cx="1952625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erativ </a:t>
            </a:r>
            <a:r>
              <a:rPr lang="de-DE" dirty="0" err="1"/>
              <a:t>vs</a:t>
            </a:r>
            <a:r>
              <a:rPr lang="de-DE" dirty="0"/>
              <a:t> funktional: </a:t>
            </a:r>
            <a:r>
              <a:rPr lang="de-DE" dirty="0" err="1"/>
              <a:t>Sep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 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nu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persistente Datenstrukturen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647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efert bei einer Änderung </a:t>
            </a:r>
            <a:r>
              <a:rPr lang="de-DE" dirty="0"/>
              <a:t>eine veränderte Kopie von sich selbst zurück liefert und behält ihren vorherigen Zustan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enstrukturen </a:t>
            </a:r>
            <a:r>
              <a:rPr lang="de-DE" dirty="0"/>
              <a:t>können sie sich im Speicher vorgehaltene Werte teil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2905163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2 = list1.replace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PROGRAMMIERUNG mit JAVA 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 voll mit Seiteneffekt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drei neue Datenstrukturen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funktionale Schnittstellen mit bis zu zwei Parametern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…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hecked</a:t>
            </a:r>
            <a:r>
              <a:rPr lang="de-DE" sz="2400" dirty="0"/>
              <a:t> </a:t>
            </a:r>
            <a:r>
              <a:rPr lang="de-DE" sz="2400" dirty="0" err="1"/>
              <a:t>exceptions</a:t>
            </a:r>
            <a:r>
              <a:rPr lang="de-DE" sz="2400" dirty="0"/>
              <a:t> in Funktion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mständliche Collection-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VASLANG IST nun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497" y="412041"/>
            <a:ext cx="2910213" cy="22108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42" y="1488436"/>
            <a:ext cx="2253712" cy="7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VAVR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ine Bibliothek die persistente Datenstrukturen und algebraische Datentypen für Java8 bereitstel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rientiert sich bei der Namensgebung a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437906"/>
            <a:ext cx="10944075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und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…) sind nicht notwendi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2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756000"/>
            <a:ext cx="10182224" cy="491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Datenstrukturen können beliebig konvertiert werd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724746"/>
            <a:ext cx="11102025" cy="55861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e zur Initialisierung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t in die API integriert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539" y="854074"/>
            <a:ext cx="4432840" cy="4809601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7917" y="1013592"/>
            <a:ext cx="3800159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445031" y="1200916"/>
            <a:ext cx="2323771" cy="997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6600" dirty="0"/>
              <a:t>OMG!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2706196"/>
            <a:ext cx="177165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die partielle Anwendung einer Funktion durch das Umwandeln einer Funktion mit N Argumenten in eine modifizierte Funktion mit N-1 Argument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Funktion mit zwei Argumenten f: A1 x A2 → B wird in eine modifizierte Funktion mit einem Argument f’: A1 → (A2 → B) umgewande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as Festsetzen von einem oder mehreren Parametern erfolgt von links nach rechts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97614"/>
            <a:ext cx="10486551" cy="178510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arameter a wird mit 2 festgesetzt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>
            <a:off x="2781300" y="759941"/>
            <a:ext cx="6291263" cy="3133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Software </a:t>
            </a:r>
            <a:r>
              <a:rPr lang="en-US" sz="2400" dirty="0" err="1"/>
              <a:t>Architekt</a:t>
            </a:r>
            <a:r>
              <a:rPr lang="en-US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Deutsche Telekom – Connected Home (</a:t>
            </a:r>
            <a:r>
              <a:rPr lang="en-US" sz="2400" dirty="0" err="1"/>
              <a:t>Qivicon</a:t>
            </a:r>
            <a:r>
              <a:rPr lang="en-US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Ersteller</a:t>
            </a:r>
            <a:r>
              <a:rPr lang="en-US" sz="2400" dirty="0"/>
              <a:t> von Swagger2Markup und Resilience4j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Vavr</a:t>
            </a:r>
            <a:r>
              <a:rPr lang="en-US" sz="2400" dirty="0"/>
              <a:t>- Contributo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Twitter: @</a:t>
            </a:r>
            <a:r>
              <a:rPr lang="en-US" sz="2400" dirty="0" err="1"/>
              <a:t>rbrtwnklr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GitHub: </a:t>
            </a:r>
            <a:r>
              <a:rPr lang="en-US" sz="2400" dirty="0" err="1"/>
              <a:t>RobWi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5" y="756000"/>
            <a:ext cx="2169042" cy="46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eine Methode nur beim ersten Aufruf ausgeführt wird und bei weiteren Aufrufen der gespeicherte Wert zurückgeliefert wird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28600" y="2127868"/>
            <a:ext cx="10968038" cy="24622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&lt;Double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	Function0.</a:t>
            </a:r>
            <a:r>
              <a:rPr kumimoji="0" lang="de-DE" altLang="de-DE" sz="22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 </a:t>
            </a:r>
            <a:r>
              <a:rPr lang="de-DE" altLang="de-DE" dirty="0"/>
              <a:t>eine partielle Funktion in eine totale Funktion umzuwandeln, die den Datentyp Option zurück gibt. 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von X nach Y ist eine Funktion f: X' → Y, wobei X' eine Teilmenge von X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funktioniert nur für einen Teil der Eingabewerte korrekt und wirft bei einer ungültigen Eingabe einen Fehler</a:t>
            </a:r>
            <a:endParaRPr lang="de-DE" alt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466725" y="3183612"/>
            <a:ext cx="10839449" cy="240065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Non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2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Algebraische Datentyp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kttypen: Enthalten in der Regel mehrere Werte, die Felder heiß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8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men- oder Variantentypen: Für jeden Typ gibt es nur eine fixe Anzahl an Variant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Es gibt </a:t>
            </a:r>
            <a:r>
              <a:rPr lang="de-DE" sz="2400" dirty="0" err="1"/>
              <a:t>Tuple</a:t>
            </a:r>
            <a:r>
              <a:rPr lang="de-DE" sz="2400" dirty="0"/>
              <a:t> mit bis zu 8 Felder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sind praktisch, wenn eine Funktion mehr als einen Rückgabewert hat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</a:t>
            </a:r>
            <a:r>
              <a:rPr lang="de-DE" dirty="0"/>
              <a:t>einen optionalen Wert (</a:t>
            </a:r>
            <a:r>
              <a:rPr lang="de-DE" dirty="0" err="1"/>
              <a:t>Some</a:t>
            </a:r>
            <a:r>
              <a:rPr lang="de-DE" dirty="0"/>
              <a:t> oder None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t mehr Operatoren als Java 8‘s Optional und ist </a:t>
            </a:r>
            <a:r>
              <a:rPr lang="de-DE" dirty="0" err="1"/>
              <a:t>serialisierbar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in andere Datentypen wie Try oder </a:t>
            </a:r>
            <a:r>
              <a:rPr lang="de-DE" dirty="0" err="1"/>
              <a:t>Either</a:t>
            </a:r>
            <a:r>
              <a:rPr lang="de-DE" dirty="0"/>
              <a:t> konvertiert werden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eine Berechnung, die entweder erfolgreich durchgeführt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der mit einem Fehler beendet wurde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mit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und allen Anwesenden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auch weg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 aus zwei möglichen Typ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ignet sich als </a:t>
            </a:r>
            <a:r>
              <a:rPr lang="de-DE" dirty="0" err="1"/>
              <a:t>entweder-oder</a:t>
            </a:r>
            <a:r>
              <a:rPr lang="de-DE" dirty="0"/>
              <a:t> Rückgabewert (</a:t>
            </a:r>
            <a:r>
              <a:rPr lang="de-DE" dirty="0" err="1"/>
              <a:t>Right</a:t>
            </a:r>
            <a:r>
              <a:rPr lang="de-DE" dirty="0"/>
              <a:t> ode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Kann auch als Alternative für Option und Try verwendet werden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 vergleichbar mit </a:t>
            </a:r>
            <a:r>
              <a:rPr lang="de-DE" altLang="de-DE" dirty="0" err="1"/>
              <a:t>Some</a:t>
            </a:r>
            <a:r>
              <a:rPr lang="de-DE" altLang="de-DE" dirty="0"/>
              <a:t> oder 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vergleichbar mit None oder </a:t>
            </a:r>
            <a:r>
              <a:rPr lang="de-DE" altLang="de-DE" dirty="0" err="1"/>
              <a:t>Failure</a:t>
            </a:r>
            <a:r>
              <a:rPr lang="de-DE" altLang="de-DE" dirty="0"/>
              <a:t> 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, der unter Umständen noch nicht berechnet wurd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Die Berechnung ist thread-saf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man mit einem </a:t>
            </a:r>
            <a:r>
              <a:rPr lang="de-DE" dirty="0" err="1"/>
              <a:t>Supplier</a:t>
            </a:r>
            <a:r>
              <a:rPr lang="de-DE" dirty="0"/>
              <a:t> vergleichen, hat aber einen wesentlichen Unterschied: Der berechnete Wert wird </a:t>
            </a:r>
            <a:r>
              <a:rPr lang="de-DE" dirty="0" err="1"/>
              <a:t>ge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erlaubt einen Wert gegen Patterns zu prüf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Mächtige Alternative zu </a:t>
            </a:r>
            <a:r>
              <a:rPr lang="de-DE" dirty="0" err="1"/>
              <a:t>Java‘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) 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value</a:t>
            </a:r>
            <a:r>
              <a:rPr lang="de-DE" altLang="de-DE" dirty="0"/>
              <a:t>) 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predicate</a:t>
            </a:r>
            <a:r>
              <a:rPr lang="de-DE" altLang="de-DE" dirty="0"/>
              <a:t>) 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3070353"/>
            <a:ext cx="10287000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not (5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silience4j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4605262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leichtgewichtige Fehlertoleranz-Bibliothek, die von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inspiriert wurde, aber speziell für funktionale Programmierung konzipiert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ellt Funktionen höherer Ordnung bereit, mit denen funktionale Schnittstellen, Lambda Ausdrücke und Methoden-Referenzen um Funktionalität erweitert werden könn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Schützt Funktionen mit einer „Sicherung“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iert die </a:t>
            </a:r>
            <a:r>
              <a:rPr lang="de-DE" dirty="0"/>
              <a:t>Rate von Funktionsaufrufen 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Wiederholt </a:t>
            </a:r>
            <a:r>
              <a:rPr lang="de-DE" dirty="0"/>
              <a:t>fehlgeschlagene Funktionen automatisch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iert die Anzahl gleichzeitiger Funktions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iert die Laufzeit von Funktion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r</a:t>
            </a:r>
            <a:r>
              <a:rPr lang="de-DE" sz="2400" dirty="0"/>
              <a:t>: Misst Metriken von Funktionsaufrufe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525" y="3937093"/>
            <a:ext cx="2114550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macht Funktionale </a:t>
            </a:r>
            <a:r>
              <a:rPr lang="de-DE" dirty="0" err="1"/>
              <a:t>programmierung</a:t>
            </a:r>
            <a:r>
              <a:rPr lang="de-DE" dirty="0"/>
              <a:t> au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 “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de-DE" sz="2400" dirty="0"/>
              <a:t> können Variable zugewies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höherer Ordnung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ohne Seiteneffekte (Referentielle Transparenz)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omposition von Funktionen (</a:t>
            </a:r>
            <a:r>
              <a:rPr lang="de-DE" sz="2400" dirty="0" err="1"/>
              <a:t>Seper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e (unveränderliche) Datenstruktur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sche Datentypen (Summen- und Produkt-Type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Zustandsmaschine mit drei Zuständen: CLOSED, OPEN, HALF_OP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ierbarer Schwellwert für die Fehlerrat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eine konfigurierbare Anzahl von Testaufrufen im HALF_OPEN Zustand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t den Status von Funktionsaufrufen in zwei 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mit 16 </a:t>
            </a:r>
            <a:r>
              <a:rPr lang="de-DE" dirty="0" err="1"/>
              <a:t>long</a:t>
            </a:r>
            <a:r>
              <a:rPr lang="de-DE" dirty="0"/>
              <a:t> (64-bit) Werten kann den Status von 1024 Aufrufen speicher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ein rollendes Zeitfenst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Aufruf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Aufruf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Fehler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00026" y="756000"/>
            <a:ext cx="11125349" cy="50783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		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8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0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FUNKTION höherer ORDN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95133" y="1085737"/>
            <a:ext cx="10436380" cy="409525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81063" y="1845097"/>
            <a:ext cx="10957874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name1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name2"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für ein Monitoring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ken können mit Hilfe von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der Prometheus exportiert werden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64150" y="834492"/>
            <a:ext cx="10991700" cy="480131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dl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RXjava2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s gibt RxJava2 Operatoren für Observable, </a:t>
            </a:r>
            <a:r>
              <a:rPr lang="de-DE" dirty="0" err="1"/>
              <a:t>Flowable</a:t>
            </a:r>
            <a:r>
              <a:rPr lang="de-DE" dirty="0"/>
              <a:t> und Single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RETR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1192572"/>
            <a:ext cx="1085849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38126" y="741298"/>
            <a:ext cx="900406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000" dirty="0"/>
              <a:t>Wiederholt fehlgeschlagene Aufrufe und erhöht die Wartezeit zwischen Aufrufen exponentie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206734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766881"/>
            <a:ext cx="10191750" cy="1289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mitiert die </a:t>
            </a:r>
            <a:r>
              <a:rPr lang="de-DE" dirty="0"/>
              <a:t>Rate von Funktionsaufruf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Zeit wird in Zyklen eingeteilt. Jeder Zyklus hat eine konfigurierbare Dauer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Jeder Zyklus erlaubt eine konfigurierbare Anzahl von Funktionsaufrufen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98451" y="1281994"/>
            <a:ext cx="10715624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24000" y="756000"/>
            <a:ext cx="4674036" cy="4764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rlaubt 1 Funktionsaufruf pro Sekun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BULKHEA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9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1865179"/>
            <a:ext cx="10801200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38125" y="758999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Limitiert die Anzahl gleichzeitiger Funktionsaufruf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Funktionsaufrufe entweder warten oder mit einem Fehler abbrechen</a:t>
            </a:r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miteinander verkette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urch Anwendung einer Funktion auf dem Resultat einer anderen Funktion entsteht eine neue Funktion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Funktionen f: X → Y und g: Y → Z können zu einer Funktion h: g(f(x)) verkettet werden mit h: X → Z.</a:t>
            </a:r>
            <a:r>
              <a:rPr lang="de-DE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47675" y="3014097"/>
            <a:ext cx="10566400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TIM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0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2437661"/>
            <a:ext cx="10373710" cy="341632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ckend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get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ta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Tota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an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Mean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ponseTimePercenti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Snapsho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get95thPercentile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ntegration mit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wie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erfolgreicher und fehlgeschlagener 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twortzeit und Aufrufrate</a:t>
            </a:r>
          </a:p>
        </p:txBody>
      </p:sp>
    </p:spTree>
    <p:extLst>
      <p:ext uri="{BB962C8B-B14F-4D97-AF65-F5344CB8AC3E}">
        <p14:creationId xmlns:p14="http://schemas.microsoft.com/office/powerpoint/2010/main" val="9210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1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ation mittels Spring Boot </a:t>
            </a:r>
            <a:r>
              <a:rPr lang="de-DE" dirty="0" err="1"/>
              <a:t>Config</a:t>
            </a:r>
            <a:r>
              <a:rPr lang="de-DE" dirty="0"/>
              <a:t>-Datei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en für </a:t>
            </a:r>
            <a:r>
              <a:rPr lang="de-DE" dirty="0" err="1"/>
              <a:t>CircuitBreaker</a:t>
            </a:r>
            <a:r>
              <a:rPr lang="de-DE" dirty="0"/>
              <a:t> u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ue </a:t>
            </a:r>
            <a:r>
              <a:rPr lang="de-DE" sz="2400" dirty="0" err="1"/>
              <a:t>HealthIndicator</a:t>
            </a:r>
            <a:r>
              <a:rPr lang="de-DE" sz="2400" dirty="0"/>
              <a:t> für </a:t>
            </a:r>
            <a:r>
              <a:rPr lang="de-DE" sz="2400" dirty="0" err="1"/>
              <a:t>CircuitBreaker</a:t>
            </a:r>
            <a:r>
              <a:rPr lang="de-DE" sz="2400" dirty="0"/>
              <a:t> u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werden über ein neuen </a:t>
            </a:r>
            <a:r>
              <a:rPr lang="de-DE" sz="2400" dirty="0" err="1"/>
              <a:t>Actuator</a:t>
            </a:r>
            <a:r>
              <a:rPr lang="de-DE" sz="2400" dirty="0"/>
              <a:t> Endpoints veröffentli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ken werden über den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veröffentlic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CONFIGUR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2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06390" y="1108411"/>
            <a:ext cx="10907219" cy="353943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ilience4j.circuitbreaker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s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92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</a:t>
            </a:r>
            <a:r>
              <a:rPr lang="de-DE" dirty="0" err="1"/>
              <a:t>Heal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3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88781" y="1083324"/>
            <a:ext cx="10907219" cy="526297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OWN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6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143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METRIK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4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1284801"/>
            <a:ext cx="10907219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85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5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9407" y="1003338"/>
            <a:ext cx="1090721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UCCESS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39:20.518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ERROR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41:31.159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Messag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g.springframework.web.client.HttpServerError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500 This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remote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]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2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6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390571" y="835572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FRAGEN?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b="7610"/>
          <a:stretch/>
        </p:blipFill>
        <p:spPr>
          <a:xfrm>
            <a:off x="2683312" y="2323021"/>
            <a:ext cx="6421273" cy="3672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742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76855" y="748888"/>
            <a:ext cx="10409690" cy="122898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und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atterns: Execute-</a:t>
            </a:r>
            <a:r>
              <a:rPr lang="de-DE" sz="2400" dirty="0" err="1"/>
              <a:t>Around</a:t>
            </a:r>
            <a:r>
              <a:rPr lang="de-DE" sz="2400" dirty="0"/>
              <a:t>, </a:t>
            </a:r>
            <a:r>
              <a:rPr lang="de-DE" sz="2400" dirty="0" err="1"/>
              <a:t>Deferred</a:t>
            </a:r>
            <a:r>
              <a:rPr lang="de-DE" sz="2400" dirty="0"/>
              <a:t> </a:t>
            </a:r>
            <a:r>
              <a:rPr lang="de-DE" sz="2400" dirty="0" err="1"/>
              <a:t>Execution</a:t>
            </a:r>
            <a:r>
              <a:rPr lang="de-DE" sz="2400" dirty="0"/>
              <a:t>, </a:t>
            </a:r>
            <a:r>
              <a:rPr lang="de-DE" sz="2400" dirty="0" err="1"/>
              <a:t>Decorator</a:t>
            </a:r>
            <a:r>
              <a:rPr lang="de-DE" sz="2400" dirty="0"/>
              <a:t>, </a:t>
            </a:r>
            <a:r>
              <a:rPr lang="de-DE" sz="2400" dirty="0" err="1"/>
              <a:t>Strategy</a:t>
            </a:r>
            <a:r>
              <a:rPr lang="de-DE" sz="2400" dirty="0"/>
              <a:t>, Template </a:t>
            </a:r>
            <a:r>
              <a:rPr lang="de-DE" sz="2400" dirty="0" err="1"/>
              <a:t>Metho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850770"/>
            <a:ext cx="1101432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Consumer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ppli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.call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ex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ccep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ge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298660"/>
            <a:ext cx="11014329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    	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ex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alle JUGs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DE" altLang="de-DE" sz="24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result2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Frankfur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3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129382"/>
            <a:ext cx="11014329" cy="412420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edFunction0&lt;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0&lt;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.recov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alle JUGs"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altLang="de-DE" sz="24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63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54576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er Aufruf </a:t>
            </a:r>
            <a:r>
              <a:rPr lang="de-DE" sz="2400" dirty="0"/>
              <a:t>einer Funktion mit den selben Parametern liefert stets dasselbe Ergebnis, ist also unabhängig vom Kontext</a:t>
            </a: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95252" y="2391157"/>
            <a:ext cx="10892857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&gt;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o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// Wirf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wenn der User ein Hacker ist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Änder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zvariabl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d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4000" y="1912339"/>
            <a:ext cx="4253647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2000" dirty="0">
                <a:ea typeface="Swagger" pitchFamily="2" charset="0"/>
              </a:rPr>
              <a:t>Beispiel für eine Funktion mit Seiteneffekten:</a:t>
            </a: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dirty="0" err="1"/>
              <a:t>Funktion</a:t>
            </a:r>
            <a:r>
              <a:rPr lang="en-US" dirty="0"/>
              <a:t> hat </a:t>
            </a:r>
            <a:r>
              <a:rPr lang="en-US" dirty="0" err="1"/>
              <a:t>keine</a:t>
            </a:r>
            <a:r>
              <a:rPr lang="en-US" dirty="0"/>
              <a:t> </a:t>
            </a:r>
            <a:r>
              <a:rPr lang="en-US" dirty="0" err="1"/>
              <a:t>Seiteneffekte</a:t>
            </a:r>
            <a:endParaRPr lang="en-US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ögliche Validierungsfehler werden in der Signatur explizit gemacht</a:t>
            </a:r>
            <a:endParaRPr lang="en-US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38127" y="1907588"/>
            <a:ext cx="11073632" cy="440120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Us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Validation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epen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Name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54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0</TotalTime>
  <Words>1308</Words>
  <Application>Microsoft Office PowerPoint</Application>
  <PresentationFormat>Benutzerdefiniert</PresentationFormat>
  <Paragraphs>306</Paragraphs>
  <Slides>4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9" baseType="lpstr">
      <vt:lpstr>Arial Unicode MS</vt:lpstr>
      <vt:lpstr>Arial</vt:lpstr>
      <vt:lpstr>Courier New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ktionale programmierung mit Vavr und Resilience4j </vt:lpstr>
      <vt:lpstr>Über mich</vt:lpstr>
      <vt:lpstr>WAS macht Funktionale programmierung aus?</vt:lpstr>
      <vt:lpstr>Komposition von FUNKTIONEN</vt:lpstr>
      <vt:lpstr>Was sind FUNKTIONEN höherer ORDNUNG?</vt:lpstr>
      <vt:lpstr>Was sind FUNKTIONEN höherer ORDNUNG?</vt:lpstr>
      <vt:lpstr>Was sind FUNKTIONEN höherer ORDNUNG?</vt:lpstr>
      <vt:lpstr>WAS ist Referentielle Transparenz? </vt:lpstr>
      <vt:lpstr>WAS ist Referentielle Transparenz? </vt:lpstr>
      <vt:lpstr>(PURE) Funktionen ohne Seiteneffekte</vt:lpstr>
      <vt:lpstr>Imperativ vs funktional: Seperation of CONCERNS</vt:lpstr>
      <vt:lpstr>Was sind persistente Datenstrukturen?</vt:lpstr>
      <vt:lpstr>Funktionale PROGRAMMIERUNG mit JAVA 8</vt:lpstr>
      <vt:lpstr>JAVASLANG IST nun VAVR</vt:lpstr>
      <vt:lpstr>Was ist VAVR?</vt:lpstr>
      <vt:lpstr>VAVR: persistente Datenstrukturen</vt:lpstr>
      <vt:lpstr>VAVR: persistente Datenstrukturen</vt:lpstr>
      <vt:lpstr>VAVR: persistente Datenstrukturen</vt:lpstr>
      <vt:lpstr>VAVR: Currying </vt:lpstr>
      <vt:lpstr>VAVR: Memoization  </vt:lpstr>
      <vt:lpstr>VAVR: Lifting   </vt:lpstr>
      <vt:lpstr>VAVR: Algebraische Datentypen    </vt:lpstr>
      <vt:lpstr>VAVR: TUPLES   </vt:lpstr>
      <vt:lpstr>VAVR: Option   </vt:lpstr>
      <vt:lpstr>VAVR: Try   </vt:lpstr>
      <vt:lpstr>VAVR: EITHER   </vt:lpstr>
      <vt:lpstr>VAVR: Lazy   </vt:lpstr>
      <vt:lpstr>VAVR: PATTERN MATCHING   </vt:lpstr>
      <vt:lpstr>Was ist Resilience4j?</vt:lpstr>
      <vt:lpstr>Resilience4j: CIRCUITBREAKER</vt:lpstr>
      <vt:lpstr>Resilience4j: CIRCUITBREAKER</vt:lpstr>
      <vt:lpstr>Resilience4j: FUNKTION höherer ORDNUNG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limiter</vt:lpstr>
      <vt:lpstr>Resilience4j: Ratelimiter</vt:lpstr>
      <vt:lpstr>Resilience4j: BULKHEAD</vt:lpstr>
      <vt:lpstr>Resilience4j: TIMER</vt:lpstr>
      <vt:lpstr>Resilience4j: Spring Boot</vt:lpstr>
      <vt:lpstr>Resilience4j: Spring Boot – CONFIGURATION</vt:lpstr>
      <vt:lpstr>Resilience4j: Spring Boot – Health</vt:lpstr>
      <vt:lpstr>Resilience4j: Spring Boot – METRIKEN</vt:lpstr>
      <vt:lpstr>Resilience4j: Spring Boot – EVENTS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Winkler, Robert</cp:lastModifiedBy>
  <cp:revision>451</cp:revision>
  <dcterms:created xsi:type="dcterms:W3CDTF">2016-08-19T15:43:19Z</dcterms:created>
  <dcterms:modified xsi:type="dcterms:W3CDTF">2017-08-21T08:33:14Z</dcterms:modified>
</cp:coreProperties>
</file>